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804" r:id="rId8"/>
  </p:sldMasterIdLst>
  <p:notesMasterIdLst>
    <p:notesMasterId r:id="rId72"/>
  </p:notesMasterIdLst>
  <p:sldIdLst>
    <p:sldId id="348" r:id="rId9"/>
    <p:sldId id="257" r:id="rId10"/>
    <p:sldId id="347" r:id="rId11"/>
    <p:sldId id="259" r:id="rId12"/>
    <p:sldId id="256" r:id="rId13"/>
    <p:sldId id="270" r:id="rId14"/>
    <p:sldId id="271" r:id="rId15"/>
    <p:sldId id="272" r:id="rId16"/>
    <p:sldId id="273" r:id="rId17"/>
    <p:sldId id="297" r:id="rId18"/>
    <p:sldId id="274" r:id="rId19"/>
    <p:sldId id="303" r:id="rId20"/>
    <p:sldId id="304" r:id="rId21"/>
    <p:sldId id="305" r:id="rId22"/>
    <p:sldId id="302" r:id="rId23"/>
    <p:sldId id="298" r:id="rId24"/>
    <p:sldId id="308" r:id="rId25"/>
    <p:sldId id="309" r:id="rId26"/>
    <p:sldId id="310" r:id="rId27"/>
    <p:sldId id="339" r:id="rId28"/>
    <p:sldId id="340" r:id="rId29"/>
    <p:sldId id="311" r:id="rId30"/>
    <p:sldId id="313" r:id="rId31"/>
    <p:sldId id="312" r:id="rId32"/>
    <p:sldId id="307" r:id="rId33"/>
    <p:sldId id="275" r:id="rId34"/>
    <p:sldId id="295" r:id="rId35"/>
    <p:sldId id="282" r:id="rId36"/>
    <p:sldId id="283" r:id="rId37"/>
    <p:sldId id="284" r:id="rId38"/>
    <p:sldId id="285" r:id="rId39"/>
    <p:sldId id="286" r:id="rId40"/>
    <p:sldId id="294" r:id="rId41"/>
    <p:sldId id="314" r:id="rId42"/>
    <p:sldId id="315" r:id="rId43"/>
    <p:sldId id="316" r:id="rId44"/>
    <p:sldId id="317" r:id="rId45"/>
    <p:sldId id="319" r:id="rId46"/>
    <p:sldId id="324" r:id="rId47"/>
    <p:sldId id="325" r:id="rId48"/>
    <p:sldId id="328" r:id="rId49"/>
    <p:sldId id="329" r:id="rId50"/>
    <p:sldId id="332" r:id="rId51"/>
    <p:sldId id="333" r:id="rId52"/>
    <p:sldId id="346" r:id="rId53"/>
    <p:sldId id="336" r:id="rId54"/>
    <p:sldId id="335" r:id="rId55"/>
    <p:sldId id="343" r:id="rId56"/>
    <p:sldId id="344" r:id="rId57"/>
    <p:sldId id="337" r:id="rId58"/>
    <p:sldId id="338" r:id="rId59"/>
    <p:sldId id="341" r:id="rId60"/>
    <p:sldId id="345" r:id="rId61"/>
    <p:sldId id="288" r:id="rId62"/>
    <p:sldId id="289" r:id="rId63"/>
    <p:sldId id="299" r:id="rId64"/>
    <p:sldId id="300" r:id="rId65"/>
    <p:sldId id="291" r:id="rId66"/>
    <p:sldId id="334" r:id="rId67"/>
    <p:sldId id="301" r:id="rId68"/>
    <p:sldId id="293" r:id="rId69"/>
    <p:sldId id="265" r:id="rId70"/>
    <p:sldId id="350"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348"/>
            <p14:sldId id="257"/>
            <p14:sldId id="347"/>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46"/>
            <p14:sldId id="336"/>
            <p14:sldId id="335"/>
            <p14:sldId id="343"/>
            <p14:sldId id="344"/>
            <p14:sldId id="337"/>
            <p14:sldId id="338"/>
            <p14:sldId id="341"/>
            <p14:sldId id="345"/>
            <p14:sldId id="288"/>
            <p14:sldId id="289"/>
            <p14:sldId id="299"/>
            <p14:sldId id="300"/>
            <p14:sldId id="291"/>
            <p14:sldId id="334"/>
            <p14:sldId id="301"/>
            <p14:sldId id="293"/>
            <p14:sldId id="265"/>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7F2FC"/>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86079" autoAdjust="0"/>
  </p:normalViewPr>
  <p:slideViewPr>
    <p:cSldViewPr snapToGrid="0">
      <p:cViewPr varScale="1">
        <p:scale>
          <a:sx n="99" d="100"/>
          <a:sy n="99" d="100"/>
        </p:scale>
        <p:origin x="64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4</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7</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3</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7</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3</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2</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00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4</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8.xml"/><Relationship Id="rId6" Type="http://schemas.openxmlformats.org/officeDocument/2006/relationships/image" Target="../media/image13.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rotWithShape="1">
          <a:blip r:embed="rId3"/>
          <a:srcRect l="12341" r="14783"/>
          <a:stretch/>
        </p:blipFill>
        <p:spPr>
          <a:xfrm>
            <a:off x="-26126" y="3598819"/>
            <a:ext cx="12226835" cy="3761558"/>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5017448"/>
            <a:ext cx="735979" cy="925314"/>
          </a:xfrm>
          <a:prstGeom prst="rect">
            <a:avLst/>
          </a:prstGeom>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778395"/>
            <a:ext cx="947270" cy="923976"/>
          </a:xfrm>
          <a:prstGeom prst="rect">
            <a:avLst/>
          </a:prstGeom>
        </p:spPr>
      </p:pic>
    </p:spTree>
    <p:extLst>
      <p:ext uri="{BB962C8B-B14F-4D97-AF65-F5344CB8AC3E}">
        <p14:creationId xmlns:p14="http://schemas.microsoft.com/office/powerpoint/2010/main" val="25458563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678945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816846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4543870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8838894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969336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939581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3264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0833093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1">
            <a:lumMod val="60000"/>
            <a:lumOff val="4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7" name="Picture 6"/>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8" name="Picture 7"/>
          <p:cNvPicPr>
            <a:picLocks noChangeAspect="1"/>
          </p:cNvPicPr>
          <p:nvPr userDrawn="1"/>
        </p:nvPicPr>
        <p:blipFill>
          <a:blip r:embed="rId3"/>
          <a:stretch>
            <a:fillRect/>
          </a:stretch>
        </p:blipFill>
        <p:spPr>
          <a:xfrm>
            <a:off x="9851688" y="5532552"/>
            <a:ext cx="2470462" cy="1025683"/>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4847629"/>
            <a:ext cx="735979" cy="925314"/>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608576"/>
            <a:ext cx="947270" cy="923976"/>
          </a:xfrm>
          <a:prstGeom prst="rect">
            <a:avLst/>
          </a:prstGeom>
        </p:spPr>
      </p:pic>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11461" y="2311884"/>
            <a:ext cx="3769076" cy="1386430"/>
          </a:xfrm>
          <a:prstGeom prst="rect">
            <a:avLst/>
          </a:prstGeom>
        </p:spPr>
      </p:pic>
    </p:spTree>
    <p:extLst>
      <p:ext uri="{BB962C8B-B14F-4D97-AF65-F5344CB8AC3E}">
        <p14:creationId xmlns:p14="http://schemas.microsoft.com/office/powerpoint/2010/main" val="192417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581317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4089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2207076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788766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785768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14726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362296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5.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microsoft.com/office/2007/relationships/hdphoto" Target="../media/hdphoto1.wdp"/><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5.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5.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5.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5.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5.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image" Target="../media/image5.emf"/><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microsoft.com/office/2007/relationships/hdphoto" Target="../media/hdphoto1.wdp"/><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image" Target="../media/image6.pn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803" r:id="rId6"/>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3"/>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4" name="Picture 13"/>
          <p:cNvPicPr>
            <a:picLocks noChangeAspect="1"/>
          </p:cNvPicPr>
          <p:nvPr userDrawn="1"/>
        </p:nvPicPr>
        <p:blipFill rotWithShape="1">
          <a:blip r:embed="rId14">
            <a:extLst>
              <a:ext uri="{BEBA8EAE-BF5A-486C-A8C5-ECC9F3942E4B}">
                <a14:imgProps xmlns:a14="http://schemas.microsoft.com/office/drawing/2010/main">
                  <a14:imgLayer r:embed="rId15">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98" r:id="rId9"/>
    <p:sldLayoutId id="2147483799" r:id="rId10"/>
    <p:sldLayoutId id="2147483800" r:id="rId11"/>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4" name="Picture 13"/>
          <p:cNvPicPr>
            <a:picLocks noChangeAspect="1"/>
          </p:cNvPicPr>
          <p:nvPr userDrawn="1"/>
        </p:nvPicPr>
        <p:blipFill rotWithShape="1">
          <a:blip r:embed="rId19">
            <a:extLst>
              <a:ext uri="{BEBA8EAE-BF5A-486C-A8C5-ECC9F3942E4B}">
                <a14:imgProps xmlns:a14="http://schemas.microsoft.com/office/drawing/2010/main">
                  <a14:imgLayer r:embed="rId20">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14386124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8.tmp"/><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0.tmp"/><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0.png"/><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14.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31.tmp"/><Relationship Id="rId4" Type="http://schemas.openxmlformats.org/officeDocument/2006/relationships/slideLayout" Target="../slideLayouts/slideLayout12.xml"/><Relationship Id="rId9" Type="http://schemas.openxmlformats.org/officeDocument/2006/relationships/chart" Target="../charts/char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2.xml"/><Relationship Id="rId7" Type="http://schemas.openxmlformats.org/officeDocument/2006/relationships/diagramData" Target="../diagrams/data4.xml"/><Relationship Id="rId12" Type="http://schemas.openxmlformats.org/officeDocument/2006/relationships/image" Target="../media/image3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4.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2" Type="http://schemas.openxmlformats.org/officeDocument/2006/relationships/image" Target="../media/image36.tmp"/><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7.png"/><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8" Type="http://schemas.openxmlformats.org/officeDocument/2006/relationships/image" Target="../media/image44.tmp"/><Relationship Id="rId3" Type="http://schemas.openxmlformats.org/officeDocument/2006/relationships/image" Target="../media/image39.tmp"/><Relationship Id="rId7" Type="http://schemas.openxmlformats.org/officeDocument/2006/relationships/image" Target="../media/image43.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42.tmp"/><Relationship Id="rId11" Type="http://schemas.openxmlformats.org/officeDocument/2006/relationships/image" Target="../media/image47.tmp"/><Relationship Id="rId5" Type="http://schemas.openxmlformats.org/officeDocument/2006/relationships/image" Target="../media/image41.tmp"/><Relationship Id="rId10" Type="http://schemas.openxmlformats.org/officeDocument/2006/relationships/image" Target="../media/image46.tmp"/><Relationship Id="rId4" Type="http://schemas.openxmlformats.org/officeDocument/2006/relationships/image" Target="../media/image40.tmp"/><Relationship Id="rId9" Type="http://schemas.openxmlformats.org/officeDocument/2006/relationships/image" Target="../media/image45.png"/></Relationships>
</file>

<file path=ppt/slides/_rels/slide44.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image" Target="../media/image56.tmp"/><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58.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9.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0.xml"/></Relationships>
</file>

<file path=ppt/slides/_rels/slide5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tmp"/><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2.xml"/><Relationship Id="rId7" Type="http://schemas.openxmlformats.org/officeDocument/2006/relationships/diagramData" Target="../diagrams/data1.xml"/><Relationship Id="rId12"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4.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8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142" y="1070591"/>
            <a:ext cx="8911771" cy="5787409"/>
          </a:xfrm>
          <a:prstGeom prst="rect">
            <a:avLst/>
          </a:prstGeom>
        </p:spPr>
      </p:pic>
      <p:pic>
        <p:nvPicPr>
          <p:cNvPr id="3" name="Picture 2"/>
          <p:cNvPicPr>
            <a:picLocks noChangeAspect="1"/>
          </p:cNvPicPr>
          <p:nvPr/>
        </p:nvPicPr>
        <p:blipFill>
          <a:blip r:embed="rId4"/>
          <a:stretch>
            <a:fillRect/>
          </a:stretch>
        </p:blipFill>
        <p:spPr>
          <a:xfrm>
            <a:off x="2092108" y="1230781"/>
            <a:ext cx="12295010" cy="7803902"/>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5</a:t>
            </a:fld>
            <a:endParaRPr lang="en-US"/>
          </a:p>
        </p:txBody>
      </p:sp>
    </p:spTree>
    <p:extLst>
      <p:ext uri="{BB962C8B-B14F-4D97-AF65-F5344CB8AC3E}">
        <p14:creationId xmlns:p14="http://schemas.microsoft.com/office/powerpoint/2010/main" val="2000737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79240385"/>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3179212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82944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JavaScript </a:t>
            </a: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sk </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Runner</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utomates </a:t>
            </a:r>
            <a:r>
              <a:rPr kumimoji="0" lang="en-US" sz="2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minification</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unit </a:t>
            </a:r>
            <a:r>
              <a:rPr kumimoji="0" lang="en-US" sz="2800" b="0" i="0" u="none" strike="noStrike" kern="1200" cap="none" spc="0" normalizeH="0" baseline="0" noProof="0" dirty="0">
                <a:ln>
                  <a:noFill/>
                </a:ln>
                <a:solidFill>
                  <a:srgbClr val="FFFFFF"/>
                </a:solidFill>
                <a:effectLst/>
                <a:uLnTx/>
                <a:uFillTx/>
                <a:latin typeface="Segoe UI"/>
                <a:ea typeface="+mn-ea"/>
                <a:cs typeface="+mn-cs"/>
              </a:rPr>
              <a:t>testing,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ompilation, etc.</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nfiguration over code</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mmon tasks already available as Grunt Plugin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4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nother JS Task Runner</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de over </a:t>
            </a:r>
            <a:r>
              <a:rPr kumimoji="0" lang="en-US" sz="32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config</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reaming build system</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asks are executed in maximum concurrency</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120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smtClean="0">
                <a:solidFill>
                  <a:schemeClr val="bg1"/>
                </a:solidFill>
              </a:rPr>
              <a:t>ASP.NET Core 1.0</a:t>
            </a:r>
            <a:endParaRPr lang="en-US" sz="2400" dirty="0" smtClean="0">
              <a:solidFill>
                <a:schemeClr val="bg1"/>
              </a:solidFill>
            </a:endParaRP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he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ckage manager for the </a:t>
            </a: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Web</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50k existing users</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792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56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Custom 3">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25</TotalTime>
  <Words>1700</Words>
  <Application>Microsoft Office PowerPoint</Application>
  <PresentationFormat>Widescreen</PresentationFormat>
  <Paragraphs>466</Paragraphs>
  <Slides>63</Slides>
  <Notes>30</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63</vt:i4>
      </vt:variant>
    </vt:vector>
  </HeadingPairs>
  <TitlesOfParts>
    <vt:vector size="81"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1_Azure Medium</vt:lpstr>
      <vt:lpstr>think-cell Slide</vt:lpstr>
      <vt:lpstr>PowerPoint Presentation</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Bootstrap - Visual Studio support</vt:lpstr>
      <vt:lpstr>JavaScript Tools</vt:lpstr>
      <vt:lpstr>Grunt / Gulp Overview</vt:lpstr>
      <vt:lpstr>Grunt</vt:lpstr>
      <vt:lpstr>Gulp</vt:lpstr>
      <vt:lpstr>Visual Studio Support for Grunt / Gulp</vt:lpstr>
      <vt:lpstr>Visual Studio Support for Grunt / Gulp</vt:lpstr>
      <vt:lpstr>Works with all web project types</vt:lpstr>
      <vt:lpstr>Bower</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104</cp:revision>
  <dcterms:created xsi:type="dcterms:W3CDTF">2013-08-05T17:04:56Z</dcterms:created>
  <dcterms:modified xsi:type="dcterms:W3CDTF">2016-02-04T16:19:57Z</dcterms:modified>
</cp:coreProperties>
</file>